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A9E9"/>
    <a:srgbClr val="E6E6E6"/>
    <a:srgbClr val="00A2E4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194" autoAdjust="0"/>
    <p:restoredTop sz="94660"/>
  </p:normalViewPr>
  <p:slideViewPr>
    <p:cSldViewPr snapToGrid="0" showGuides="1">
      <p:cViewPr varScale="1">
        <p:scale>
          <a:sx n="74" d="100"/>
          <a:sy n="74" d="100"/>
        </p:scale>
        <p:origin x="168" y="672"/>
      </p:cViewPr>
      <p:guideLst>
        <p:guide orient="horz" pos="2183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25" d="100"/>
        <a:sy n="125" d="100"/>
      </p:scale>
      <p:origin x="0" y="0"/>
    </p:cViewPr>
  </p:sorterViewPr>
  <p:notesViewPr>
    <p:cSldViewPr snapToGrid="0" showGuides="1">
      <p:cViewPr varScale="1">
        <p:scale>
          <a:sx n="84" d="100"/>
          <a:sy n="84" d="100"/>
        </p:scale>
        <p:origin x="3828" y="102"/>
      </p:cViewPr>
      <p:guideLst/>
    </p:cSldViewPr>
  </p:notesViewPr>
  <p:gridSpacing cx="72008" cy="72008"/>
</p:viewPr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7042</TotalTime>
  <Words>289</Words>
  <Application>Microsoft Macintosh PowerPoint</Application>
  <PresentationFormat>On-screen Show (4:3)</PresentationFormat>
  <Paragraphs>49</Paragraphs>
  <Slides>15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5</vt:i4>
      </vt:variant>
    </vt:vector>
  </HeadingPairs>
  <TitlesOfParts>
    <vt:vector size="23" baseType="lpstr">
      <vt:lpstr>Arial</vt:lpstr>
      <vt:lpstr>Calibri</vt:lpstr>
      <vt:lpstr>Lato</vt:lpstr>
      <vt:lpstr>Lato Black</vt:lpstr>
      <vt:lpstr>Lato Light</vt:lpstr>
      <vt:lpstr>Lato Medium</vt:lpstr>
      <vt:lpstr>Office Theme</vt:lpstr>
      <vt:lpstr>think-cell Slide</vt:lpstr>
      <vt:lpstr>IXPDB &amp; Tools</vt:lpstr>
      <vt:lpstr>What we’ve been working on – IXP Directory</vt:lpstr>
      <vt:lpstr>What we’ve been working on – ASN Directory</vt:lpstr>
      <vt:lpstr>What we’ve been working on – IXP Member List</vt:lpstr>
      <vt:lpstr>What we’ve been working on – Compare IXPs</vt:lpstr>
      <vt:lpstr>What we’ve been working on – Compare IXPs</vt:lpstr>
      <vt:lpstr>What we’ve been working on – Compare IXPs</vt:lpstr>
      <vt:lpstr>What we’ve been working on – Compare ASNs</vt:lpstr>
      <vt:lpstr>What we’ve been working on - Compare ASNs</vt:lpstr>
      <vt:lpstr>What we’ve been working on - Compare ASNs</vt:lpstr>
      <vt:lpstr>What’s next</vt:lpstr>
      <vt:lpstr>Other Information </vt:lpstr>
      <vt:lpstr>IXPDB Sponsors</vt:lpstr>
      <vt:lpstr>Feedback from the audience</vt:lpstr>
      <vt:lpstr>Thank You</vt:lpstr>
    </vt:vector>
  </TitlesOfParts>
  <LinksUpToDate>false</LinksUpToDate>
  <SharedDoc>false</SharedDoc>
  <HyperlinksChanged>false</HyperlinksChanged>
  <AppVersion>16.0016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ADMIN</dc:creator>
  <cp:lastModifiedBy>Bijal Sanghani</cp:lastModifiedBy>
  <cp:revision>110</cp:revision>
  <dcterms:created xsi:type="dcterms:W3CDTF">2018-01-11T19:04:12Z</dcterms:created>
  <dcterms:modified xsi:type="dcterms:W3CDTF">2019-05-22T11:23:52Z</dcterms:modified>
</cp:coreProperties>
</file>